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80800000000000005</c:v>
                </c:pt>
                <c:pt idx="1">
                  <c:v>0.72899999999999998</c:v>
                </c:pt>
                <c:pt idx="2">
                  <c:v>0.71199999999999997</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2.1429999999999998</c:v>
                </c:pt>
                <c:pt idx="1">
                  <c:v>2.4700000000000002</c:v>
                </c:pt>
                <c:pt idx="2">
                  <c:v>2.54</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71699999999999997</c:v>
                </c:pt>
                <c:pt idx="1">
                  <c:v>0.71299999999999997</c:v>
                </c:pt>
                <c:pt idx="2">
                  <c:v>0.89500000000000002</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1.212</c:v>
                </c:pt>
                <c:pt idx="1">
                  <c:v>0.68400000000000005</c:v>
                </c:pt>
                <c:pt idx="2">
                  <c:v>0.95499999999999996</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5.9509999999999996</c:v>
                </c:pt>
                <c:pt idx="1">
                  <c:v>6.2359999999999998</c:v>
                </c:pt>
                <c:pt idx="2">
                  <c:v>6.0149999999999997</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1.9530000000000001</c:v>
                </c:pt>
                <c:pt idx="1">
                  <c:v>2.2669999999999999</c:v>
                </c:pt>
                <c:pt idx="2">
                  <c:v>2.9089999999999998</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12.783999999999999</c:v>
                </c:pt>
                <c:pt idx="1">
                  <c:v>13.099</c:v>
                </c:pt>
                <c:pt idx="2">
                  <c:v>14.026</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17417F19-08A8-4E52-A423-3D24600D657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44C34338-5D61-4805-A1E3-58A97653C05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C1FEFB3D-A3FA-4241-9DC2-81B4254D3CE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1B285FB4-180E-46DB-8DA2-748D825FC83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F4934B40-7805-4EE6-8FFD-E7FD154944B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B003998B-B04A-411C-A8B7-DD9C0470622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C8E24FDB-BF54-4A81-B3DD-5F8DD43D0E9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6CC47814-56B4-4590-A36C-5BABDB21170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4656547C-E3F3-4722-832C-2A15F64867D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BD9A5935-C85B-4FE4-B1BD-11364FE1E64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DAEE4D01-2143-489B-8FC5-1705813504A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022E4CC4-D2AF-4493-97CF-665C88022C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21F83C90-711D-4E20-830B-E92A1EFA1FF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44EC4A67-3723-4555-9A60-C3EDA2BCDB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CF32EC20-7BEC-4928-880B-72C758D0578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15D84943-DAB7-4478-8040-DEFCF6385E6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27BF9109-B3E4-4723-AED6-4C332694CF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369ED096-0A54-404F-986A-023CB53D635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Verhuur en overige zakelijke diensten</c:v>
                </c:pt>
                <c:pt idx="1">
                  <c:v>Handel</c:v>
                </c:pt>
                <c:pt idx="2">
                  <c:v>Informatie en communicatie</c:v>
                </c:pt>
                <c:pt idx="3">
                  <c:v>Specialistische zakelijke diensten</c:v>
                </c:pt>
                <c:pt idx="4">
                  <c:v>Gezondheids- en welzijnszorg</c:v>
                </c:pt>
                <c:pt idx="5">
                  <c:v>Cultuur, sport en recreatie</c:v>
                </c:pt>
                <c:pt idx="6">
                  <c:v>Industrie</c:v>
                </c:pt>
                <c:pt idx="7">
                  <c:v>Vervoer en opslag</c:v>
                </c:pt>
                <c:pt idx="8">
                  <c:v>Horeca</c:v>
                </c:pt>
                <c:pt idx="9">
                  <c:v>Financiële dienstverlening</c:v>
                </c:pt>
                <c:pt idx="10">
                  <c:v>Verhuur en handel van onroerend goed</c:v>
                </c:pt>
                <c:pt idx="11">
                  <c:v>Overige dienstverlening</c:v>
                </c:pt>
                <c:pt idx="12">
                  <c:v>Delfstoffenwinning</c:v>
                </c:pt>
                <c:pt idx="13">
                  <c:v>Energievoorziening</c:v>
                </c:pt>
                <c:pt idx="14">
                  <c:v>Waterbedrijven en afvalbeheer</c:v>
                </c:pt>
                <c:pt idx="15">
                  <c:v>Landbouw, bosbouw en visserij</c:v>
                </c:pt>
                <c:pt idx="16">
                  <c:v>Bouwnijverheid</c:v>
                </c:pt>
                <c:pt idx="17">
                  <c:v>Openbaar bestuur en overheidsdiensten</c:v>
                </c:pt>
                <c:pt idx="18">
                  <c:v>Onderwijs</c:v>
                </c:pt>
              </c:strCache>
            </c:strRef>
          </c:cat>
          <c:val>
            <c:numRef>
              <c:f>Sheet1!$B$2:$B$20</c:f>
              <c:numCache>
                <c:formatCode>General</c:formatCode>
                <c:ptCount val="19"/>
                <c:pt idx="0">
                  <c:v>7.7</c:v>
                </c:pt>
                <c:pt idx="1">
                  <c:v>3.4</c:v>
                </c:pt>
                <c:pt idx="2">
                  <c:v>2.1</c:v>
                </c:pt>
                <c:pt idx="3">
                  <c:v>1.7</c:v>
                </c:pt>
                <c:pt idx="4">
                  <c:v>0.8</c:v>
                </c:pt>
                <c:pt idx="5">
                  <c:v>0.6</c:v>
                </c:pt>
                <c:pt idx="6">
                  <c:v>0.3</c:v>
                </c:pt>
                <c:pt idx="7">
                  <c:v>0.3</c:v>
                </c:pt>
                <c:pt idx="8">
                  <c:v>0.3</c:v>
                </c:pt>
                <c:pt idx="9">
                  <c:v>0.3</c:v>
                </c:pt>
                <c:pt idx="10">
                  <c:v>0.1</c:v>
                </c:pt>
                <c:pt idx="11">
                  <c:v>0.1</c:v>
                </c:pt>
                <c:pt idx="12">
                  <c:v>0</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7,7</c:v>
                  </c:pt>
                  <c:pt idx="1">
                    <c:v>3,4</c:v>
                  </c:pt>
                  <c:pt idx="2">
                    <c:v>2,1</c:v>
                  </c:pt>
                  <c:pt idx="3">
                    <c:v>1,7</c:v>
                  </c:pt>
                  <c:pt idx="4">
                    <c:v>0,8</c:v>
                  </c:pt>
                  <c:pt idx="5">
                    <c:v>0,6</c:v>
                  </c:pt>
                  <c:pt idx="6">
                    <c:v>0,3</c:v>
                  </c:pt>
                  <c:pt idx="7">
                    <c:v>0,3</c:v>
                  </c:pt>
                  <c:pt idx="8">
                    <c:v>0,3</c:v>
                  </c:pt>
                  <c:pt idx="9">
                    <c:v>0,3</c:v>
                  </c:pt>
                  <c:pt idx="10">
                    <c:v>0,1</c:v>
                  </c:pt>
                  <c:pt idx="11">
                    <c:v>0,1</c:v>
                  </c:pt>
                  <c:pt idx="12">
                    <c:v>0</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19AE4611-D36D-4C14-AA36-5E4BE9390A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19D44CA8-1F7B-4132-8ED2-ADE2673AEE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97BFA73D-FF60-4FF0-A86A-077BF6160DF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86282395-C11B-42E4-91E3-82D4E086953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36E4D576-DA83-444F-B70A-DC1458265C1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AFB86E30-CF40-422A-811F-4534CF4F673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75CED6BB-8A00-4159-923A-B5DF1A96E4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5806B27B-176D-4B79-99E7-C502CD8AE53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B548BCB3-82E4-4410-9834-E4D43533B15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5E6ED352-2ED2-462F-9DB5-C15497860FC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F7D1351A-7162-4951-B124-2B31A1F3DD5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AD693C32-D9CB-4D13-97B9-98EBA08990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2B9A0C0B-19FE-495B-ACD5-94C601C6C50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1509D5F6-56BA-4B37-90C9-C1317C86E6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80477344-1020-47A2-8750-5F24DDE0E77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B55A8921-C341-4EF3-854F-583AFA868F4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894298FE-A740-4565-BD6F-E0349410468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E61746BB-BEB9-4BF4-B4E4-A102E33529D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6.1</c:v>
                </c:pt>
                <c:pt idx="1">
                  <c:v>1.1000000000000001</c:v>
                </c:pt>
                <c:pt idx="2">
                  <c:v>0.8</c:v>
                </c:pt>
                <c:pt idx="3">
                  <c:v>0.59999999999999987</c:v>
                </c:pt>
                <c:pt idx="4">
                  <c:v>0</c:v>
                </c:pt>
                <c:pt idx="5">
                  <c:v>0.5</c:v>
                </c:pt>
                <c:pt idx="6">
                  <c:v>9.9999999999999978E-2</c:v>
                </c:pt>
                <c:pt idx="7">
                  <c:v>9.9999999999999978E-2</c:v>
                </c:pt>
                <c:pt idx="8">
                  <c:v>9.9999999999999978E-2</c:v>
                </c:pt>
                <c:pt idx="9">
                  <c:v>-0.2</c:v>
                </c:pt>
                <c:pt idx="10">
                  <c:v>0.1</c:v>
                </c:pt>
                <c:pt idx="11">
                  <c:v>0.1</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6,1</c:v>
                  </c:pt>
                  <c:pt idx="1">
                    <c:v>1,1</c:v>
                  </c:pt>
                  <c:pt idx="2">
                    <c:v>0,8</c:v>
                  </c:pt>
                  <c:pt idx="3">
                    <c:v>0,6</c:v>
                  </c:pt>
                  <c:pt idx="4">
                    <c:v>0</c:v>
                  </c:pt>
                  <c:pt idx="5">
                    <c:v>0,5</c:v>
                  </c:pt>
                  <c:pt idx="6">
                    <c:v>0,1</c:v>
                  </c:pt>
                  <c:pt idx="7">
                    <c:v>0,1</c:v>
                  </c:pt>
                  <c:pt idx="8">
                    <c:v>0,1</c:v>
                  </c:pt>
                  <c:pt idx="9">
                    <c:v>-0,2</c:v>
                  </c:pt>
                  <c:pt idx="10">
                    <c:v>0,1</c:v>
                  </c:pt>
                  <c:pt idx="11">
                    <c:v>0,1</c:v>
                  </c:pt>
                  <c:pt idx="12">
                    <c:v>0</c:v>
                  </c:pt>
                  <c:pt idx="13">
                    <c:v>0</c:v>
                  </c:pt>
                  <c:pt idx="14">
                    <c:v>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EF419C78-0AD0-4AE5-B814-288085CFEBA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99BF8BBA-6802-41FD-9D2F-56EE3B0A8AA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7618CDEA-93B7-4DF2-A207-3766B59C3F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BEB43F08-4613-4304-9994-BBB5E4F7895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395F161C-4E5E-45D3-AACA-EDAD8A265AA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06AE5D8E-7B63-4711-A187-F1D73FE2920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8AA1310C-C143-4226-BFD8-F0B3368FF26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CB154BCB-1BD2-41B1-8A95-43ACF298AE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942E064F-B7F9-47CB-AE6C-1BE7DEDF659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B1E67091-6E49-4418-9280-7C55DBA11F6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B2831BAB-73F4-4AA5-9EE3-B92699DDD9B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02A2C3D7-EB8C-494E-AB2C-610DA4024B2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716A5698-7DE2-4FEB-9E87-F1957589BD0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23563A26-3CEB-4B0F-8D91-8CCB909D806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F7F7EF16-0F18-4847-A591-D0ED2791F41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65B53C85-A32D-4CA4-8379-1A89C2EA7C8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E48A27F4-B3C8-4F40-9792-A4BF49B923B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3DA1EB88-F92E-4BCB-9115-DEC3CE4E21C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2.4027999224077266</c:v>
                </c:pt>
                <c:pt idx="1">
                  <c:v>0.15613747983486181</c:v>
                </c:pt>
                <c:pt idx="2">
                  <c:v>2.5561728753657524</c:v>
                </c:pt>
                <c:pt idx="3">
                  <c:v>0.53450386111340431</c:v>
                </c:pt>
                <c:pt idx="4">
                  <c:v>-0.727776254949839</c:v>
                </c:pt>
                <c:pt idx="5">
                  <c:v>1.0449873617325256</c:v>
                </c:pt>
                <c:pt idx="6">
                  <c:v>-0.81278470540009973</c:v>
                </c:pt>
                <c:pt idx="7">
                  <c:v>-0.63277182152639155</c:v>
                </c:pt>
                <c:pt idx="8">
                  <c:v>-0.66691493729356588</c:v>
                </c:pt>
                <c:pt idx="9">
                  <c:v>-0.46062508061367025</c:v>
                </c:pt>
                <c:pt idx="10">
                  <c:v>-0.29601235655059344</c:v>
                </c:pt>
                <c:pt idx="11">
                  <c:v>-0.64333369391611916</c:v>
                </c:pt>
                <c:pt idx="12">
                  <c:v>-1</c:v>
                </c:pt>
                <c:pt idx="13">
                  <c:v>-1</c:v>
                </c:pt>
                <c:pt idx="14">
                  <c:v>-1</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240%</c:v>
                  </c:pt>
                  <c:pt idx="1">
                    <c:v>+16%</c:v>
                  </c:pt>
                  <c:pt idx="2">
                    <c:v>+256%</c:v>
                  </c:pt>
                  <c:pt idx="3">
                    <c:v>+53%</c:v>
                  </c:pt>
                  <c:pt idx="4">
                    <c:v>-73%</c:v>
                  </c:pt>
                  <c:pt idx="5">
                    <c:v>+104%</c:v>
                  </c:pt>
                  <c:pt idx="6">
                    <c:v>-81%</c:v>
                  </c:pt>
                  <c:pt idx="7">
                    <c:v>-63%</c:v>
                  </c:pt>
                  <c:pt idx="8">
                    <c:v>-67%</c:v>
                  </c:pt>
                  <c:pt idx="9">
                    <c:v>-46%</c:v>
                  </c:pt>
                  <c:pt idx="10">
                    <c:v>-30%</c:v>
                  </c:pt>
                  <c:pt idx="11">
                    <c:v>-64%</c:v>
                  </c:pt>
                  <c:pt idx="12">
                    <c:v>-100%</c:v>
                  </c:pt>
                  <c:pt idx="13">
                    <c:v>-100%</c:v>
                  </c:pt>
                  <c:pt idx="14">
                    <c:v>-100%</c:v>
                  </c:pt>
                  <c:pt idx="15">
                    <c:v>-</c:v>
                  </c:pt>
                  <c:pt idx="16">
                    <c:v>-</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7</c:v>
                </c:pt>
                <c:pt idx="1">
                  <c:v>0.7</c:v>
                </c:pt>
                <c:pt idx="2">
                  <c:v>0.7</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9000000953674317E-2</c:v>
                </c:pt>
                <c:pt idx="1">
                  <c:v>5.5E-2</c:v>
                </c:pt>
                <c:pt idx="2">
                  <c:v>3.2000000476837161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53620162553128</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9397690391727679</c:v>
                </c:pt>
                <c:pt idx="1">
                  <c:v>0.1953620162553128</c:v>
                </c:pt>
                <c:pt idx="2">
                  <c:v>0.19114688128772636</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53620162553128</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3.0190957808136461E-2</c:v>
                </c:pt>
                <c:pt idx="1">
                  <c:v>3.1317575124897475E-2</c:v>
                </c:pt>
                <c:pt idx="2">
                  <c:v>2.8743891922966371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53620162553128</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1321609178051174E-2</c:v>
                </c:pt>
                <c:pt idx="1">
                  <c:v>1.4913131011855939E-2</c:v>
                </c:pt>
                <c:pt idx="2">
                  <c:v>1.4371945961483185E-2</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53620162553128</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4000000000000001</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6</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17</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19</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33</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71875000000000011</c:v>
                </c:pt>
                <c:pt idx="2">
                  <c:v>0.71875000000000011</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1</c:v>
                </c:pt>
                <c:pt idx="4" formatCode="0.0%">
                  <c:v>1</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1.1052631578947369</c:v>
                </c:pt>
                <c:pt idx="6" formatCode="0.0%">
                  <c:v>1.1052631578947369</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1.0666666666666667</c:v>
                </c:pt>
                <c:pt idx="8" formatCode="0.0%">
                  <c:v>1.0666666666666667</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1.4545454545454544</c:v>
                </c:pt>
                <c:pt idx="10" formatCode="0.0%">
                  <c:v>1.4545454545454544</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58741258741258751</c:v>
                </c:pt>
                <c:pt idx="26">
                  <c:v>0.58741258741258751</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50256410256410267</c:v>
                </c:pt>
                <c:pt idx="28">
                  <c:v>0.50256410256410267</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56187290969899673</c:v>
                </c:pt>
                <c:pt idx="30">
                  <c:v>0.56187290969899673</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91124260355029585</c:v>
                </c:pt>
                <c:pt idx="32">
                  <c:v>0.91124260355029585</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2.1952662721893494</c:v>
                </c:pt>
                <c:pt idx="34">
                  <c:v>2.1952662721893494</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7448275862068966</c:v>
                </c:pt>
                <c:pt idx="38">
                  <c:v>0.7448275862068966</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68602540834845749</c:v>
                </c:pt>
                <c:pt idx="40">
                  <c:v>0.68602540834845749</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7448275862068966</c:v>
                </c:pt>
                <c:pt idx="42">
                  <c:v>0.7448275862068966</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80959520239880078</c:v>
                </c:pt>
                <c:pt idx="44">
                  <c:v>0.80959520239880078</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3965517241379308</c:v>
                </c:pt>
                <c:pt idx="46">
                  <c:v>1.3965517241379308</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80800000000000005</c:v>
                </c:pt>
                <c:pt idx="1">
                  <c:v>0.72899999999999998</c:v>
                </c:pt>
                <c:pt idx="2">
                  <c:v>0.71199999999999997</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2.1429999999999998</c:v>
                </c:pt>
                <c:pt idx="1">
                  <c:v>2.4700000000000002</c:v>
                </c:pt>
                <c:pt idx="2">
                  <c:v>2.54</c:v>
                </c:pt>
                <c:pt idx="3">
                  <c:v>4</c:v>
                </c:pt>
                <c:pt idx="4">
                  <c:v>5.0999999046325684</c:v>
                </c:pt>
                <c:pt idx="5">
                  <c:v>5.0999999046325684</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71699999999999997</c:v>
                </c:pt>
                <c:pt idx="1">
                  <c:v>0.71299999999999997</c:v>
                </c:pt>
                <c:pt idx="2">
                  <c:v>0.89500000000000002</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1.212</c:v>
                </c:pt>
                <c:pt idx="1">
                  <c:v>0.68400000000000005</c:v>
                </c:pt>
                <c:pt idx="2">
                  <c:v>0.95499999999999996</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5.9509999999999996</c:v>
                </c:pt>
                <c:pt idx="1">
                  <c:v>6.2359999999999998</c:v>
                </c:pt>
                <c:pt idx="2">
                  <c:v>6.0149999999999997</c:v>
                </c:pt>
                <c:pt idx="3">
                  <c:v>10.699999809265137</c:v>
                </c:pt>
                <c:pt idx="4">
                  <c:v>11</c:v>
                </c:pt>
                <c:pt idx="5">
                  <c:v>12.100000381469727</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1.9530000000000001</c:v>
                </c:pt>
                <c:pt idx="1">
                  <c:v>2.2669999999999999</c:v>
                </c:pt>
                <c:pt idx="2">
                  <c:v>2.9089999999999998</c:v>
                </c:pt>
                <c:pt idx="3">
                  <c:v>4.1999998092651367</c:v>
                </c:pt>
                <c:pt idx="4">
                  <c:v>5.0999999046325684</c:v>
                </c:pt>
                <c:pt idx="5">
                  <c:v>5.5999999046325684</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12.783999999999999</c:v>
                </c:pt>
                <c:pt idx="1">
                  <c:v>13.099</c:v>
                </c:pt>
                <c:pt idx="2">
                  <c:v>14.026</c:v>
                </c:pt>
                <c:pt idx="3">
                  <c:v>18.899999618530273</c:v>
                </c:pt>
                <c:pt idx="4">
                  <c:v>21.199999809265137</c:v>
                </c:pt>
                <c:pt idx="5">
                  <c:v>22.800000190734863</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4939644218551464</c:v>
                </c:pt>
                <c:pt idx="1">
                  <c:v>0.31607369758576875</c:v>
                </c:pt>
                <c:pt idx="2">
                  <c:v>0.13262388818297333</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500000</c:v>
                </c:pt>
                <c:pt idx="1">
                  <c:v>548000</c:v>
                </c:pt>
                <c:pt idx="2">
                  <c:v>665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70</c:v>
                </c:pt>
                <c:pt idx="1">
                  <c:v>265</c:v>
                </c:pt>
                <c:pt idx="2">
                  <c:v>170</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85</c:v>
                </c:pt>
                <c:pt idx="1">
                  <c:v>250</c:v>
                </c:pt>
                <c:pt idx="2">
                  <c:v>17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100</c:v>
                </c:pt>
                <c:pt idx="1">
                  <c:v>280</c:v>
                </c:pt>
                <c:pt idx="2">
                  <c:v>200</c:v>
                </c:pt>
                <c:pt idx="3">
                  <c:v>0</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pt idx="0">
                  <c:v>0.2</c:v>
                </c:pt>
                <c:pt idx="1">
                  <c:v>0</c:v>
                </c:pt>
                <c:pt idx="2">
                  <c:v>0.1</c:v>
                </c:pt>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pt idx="0">
                  <c:v>0.2</c:v>
                </c:pt>
                <c:pt idx="1">
                  <c:v>3.5714285714285712E-2</c:v>
                </c:pt>
                <c:pt idx="2">
                  <c:v>0.05</c:v>
                </c:pt>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pt idx="0">
                  <c:v>0.2</c:v>
                </c:pt>
                <c:pt idx="1">
                  <c:v>7.1428571428571425E-2</c:v>
                </c:pt>
                <c:pt idx="2">
                  <c:v>0.1</c:v>
                </c:pt>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pt idx="0">
                  <c:v>0.2</c:v>
                </c:pt>
                <c:pt idx="1">
                  <c:v>0.19642857142857142</c:v>
                </c:pt>
                <c:pt idx="2">
                  <c:v>0.25</c:v>
                </c:pt>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pt idx="0">
                  <c:v>0.2</c:v>
                </c:pt>
                <c:pt idx="1">
                  <c:v>0.6964285714285714</c:v>
                </c:pt>
                <c:pt idx="2">
                  <c:v>0.5</c:v>
                </c:pt>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7.6999999999999999E-2</c:v>
                </c:pt>
                <c:pt idx="1">
                  <c:v>5.0000000000000001E-3</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225</c:v>
                </c:pt>
                <c:pt idx="1">
                  <c:v>215</c:v>
                </c:pt>
                <c:pt idx="2">
                  <c:v>195</c:v>
                </c:pt>
                <c:pt idx="3">
                  <c:v>215</c:v>
                </c:pt>
                <c:pt idx="4">
                  <c:v>240</c:v>
                </c:pt>
                <c:pt idx="5">
                  <c:v>255</c:v>
                </c:pt>
                <c:pt idx="6">
                  <c:v>240</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15</c:v>
                </c:pt>
                <c:pt idx="1">
                  <c:v>10</c:v>
                </c:pt>
                <c:pt idx="2">
                  <c:v>15</c:v>
                </c:pt>
                <c:pt idx="3">
                  <c:v>10</c:v>
                </c:pt>
                <c:pt idx="4">
                  <c:v>15</c:v>
                </c:pt>
                <c:pt idx="5">
                  <c:v>15</c:v>
                </c:pt>
                <c:pt idx="6">
                  <c:v>10</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B$2:$B$3</c:f>
              <c:numCache>
                <c:formatCode>0%</c:formatCode>
                <c:ptCount val="2"/>
                <c:pt idx="0">
                  <c:v>7.7777777777777779E-2</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C$2:$C$3</c:f>
              <c:numCache>
                <c:formatCode>0%</c:formatCode>
                <c:ptCount val="2"/>
                <c:pt idx="0">
                  <c:v>0.15555555555555556</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D$2:$D$3</c:f>
              <c:numCache>
                <c:formatCode>0%</c:formatCode>
                <c:ptCount val="2"/>
                <c:pt idx="0">
                  <c:v>0.34722222222222221</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E$2:$E$3</c:f>
              <c:numCache>
                <c:formatCode>0%</c:formatCode>
                <c:ptCount val="2"/>
                <c:pt idx="0">
                  <c:v>0.41944444444444445</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7449238578680205</c:v>
                </c:pt>
                <c:pt idx="1">
                  <c:v>0.41299999999999998</c:v>
                </c:pt>
                <c:pt idx="2">
                  <c:v>0.4214875821361830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B$2:$B$3</c:f>
              <c:numCache>
                <c:formatCode>0.0%</c:formatCode>
                <c:ptCount val="2"/>
                <c:pt idx="0">
                  <c:v>0.51758241758241763</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C$2:$C$3</c:f>
              <c:numCache>
                <c:formatCode>0.0%</c:formatCode>
                <c:ptCount val="2"/>
                <c:pt idx="0">
                  <c:v>0.14065934065934066</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D$2:$D$3</c:f>
              <c:numCache>
                <c:formatCode>0.0%</c:formatCode>
                <c:ptCount val="2"/>
                <c:pt idx="0">
                  <c:v>0.18241758241758241</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E$2:$E$3</c:f>
              <c:numCache>
                <c:formatCode>0.0%</c:formatCode>
                <c:ptCount val="2"/>
                <c:pt idx="0">
                  <c:v>0.15934065934065933</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BBAA854A-C199-4B67-AF5E-F83670F230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F81D12DF-2701-47C6-9D57-E42F5991D92C}"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DB36349B-CC47-4196-AF69-FBC1F695A49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D6E763-46B6-418D-A611-C1263A6234D8}"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AB8C9F67-F6B3-403C-8C18-0DEFACF45F1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92AE6440-6333-4D14-AA22-671D925A2F7A}"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Gewelds- en 
seksuele misdrijven</c:v>
                </c:pt>
                <c:pt idx="4">
                  <c:v>Valsheidsmisdrijven</c:v>
                </c:pt>
                <c:pt idx="5">
                  <c:v>Bedrog</c:v>
                </c:pt>
                <c:pt idx="6">
                  <c:v>Overig</c:v>
                </c:pt>
              </c:strCache>
            </c:strRef>
          </c:cat>
          <c:val>
            <c:numRef>
              <c:f>Sheet1!$B$2:$B$8</c:f>
              <c:numCache>
                <c:formatCode>#,##0</c:formatCode>
                <c:ptCount val="7"/>
                <c:pt idx="0">
                  <c:v>420</c:v>
                </c:pt>
                <c:pt idx="1">
                  <c:v>160</c:v>
                </c:pt>
                <c:pt idx="2">
                  <c:v>125</c:v>
                </c:pt>
                <c:pt idx="3">
                  <c:v>65</c:v>
                </c:pt>
                <c:pt idx="4">
                  <c:v>40</c:v>
                </c:pt>
                <c:pt idx="5">
                  <c:v>30</c:v>
                </c:pt>
                <c:pt idx="6">
                  <c:v>35</c:v>
                </c:pt>
              </c:numCache>
            </c:numRef>
          </c:val>
          <c:extLst>
            <c:ext xmlns:c15="http://schemas.microsoft.com/office/drawing/2012/chart" uri="{02D57815-91ED-43cb-92C2-25804820EDAC}">
              <c15:datalabelsRange>
                <c15:f>Sheet1!$B$2:$B$20</c15:f>
                <c15:dlblRangeCache>
                  <c:ptCount val="19"/>
                  <c:pt idx="0">
                    <c:v>420</c:v>
                  </c:pt>
                  <c:pt idx="1">
                    <c:v>160</c:v>
                  </c:pt>
                  <c:pt idx="2">
                    <c:v>125</c:v>
                  </c:pt>
                  <c:pt idx="3">
                    <c:v>65</c:v>
                  </c:pt>
                  <c:pt idx="4">
                    <c:v>40</c:v>
                  </c:pt>
                  <c:pt idx="5">
                    <c:v>30</c:v>
                  </c:pt>
                  <c:pt idx="6">
                    <c:v>3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89523D84-C7AB-4E03-A37E-5C06B1C0604A}"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A7EFA25-F61E-4923-A672-21D270116E3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E4B866E4-8AEF-489A-815B-296C5047ABA9}"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0B730700-26C9-46BA-A045-D17AE439232A}"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7ABBD41A-B2C1-4508-8743-72F1AEADE7C6}"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095C1CF-2021-4732-AC9F-19F7F6447061}"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39404120360391981</c:v>
                </c:pt>
                <c:pt idx="1">
                  <c:v>0.60977559190533714</c:v>
                </c:pt>
                <c:pt idx="2">
                  <c:v>0.52118025926962341</c:v>
                </c:pt>
                <c:pt idx="3">
                  <c:v>-2.9947105228602583E-2</c:v>
                </c:pt>
                <c:pt idx="4">
                  <c:v>0.37777458179749879</c:v>
                </c:pt>
                <c:pt idx="5">
                  <c:v>-0.30335177804727714</c:v>
                </c:pt>
                <c:pt idx="6">
                  <c:v>-3.3977003481048478E-2</c:v>
                </c:pt>
              </c:numCache>
            </c:numRef>
          </c:val>
          <c:extLst>
            <c:ext xmlns:c15="http://schemas.microsoft.com/office/drawing/2012/chart" uri="{02D57815-91ED-43cb-92C2-25804820EDAC}">
              <c15:datalabelsRange>
                <c15:f>Sheet1!$B$2:$B$35</c15:f>
                <c15:dlblRangeCache>
                  <c:ptCount val="34"/>
                  <c:pt idx="0">
                    <c:v>+39%</c:v>
                  </c:pt>
                  <c:pt idx="1">
                    <c:v>+61%</c:v>
                  </c:pt>
                  <c:pt idx="2">
                    <c:v>+52%</c:v>
                  </c:pt>
                  <c:pt idx="3">
                    <c:v>-3%</c:v>
                  </c:pt>
                  <c:pt idx="4">
                    <c:v>+38%</c:v>
                  </c:pt>
                  <c:pt idx="5">
                    <c:v>-30%</c:v>
                  </c:pt>
                  <c:pt idx="6">
                    <c:v>-3%</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E1CC85DF-4607-4D25-BD06-9984DE94B3F2}"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7CDC7FDB-D182-4F3A-AF4E-03109B08BE1F}"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D732D1C0-005C-4C34-8CEB-1D133252A93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A6173BF3-56CD-4B54-A03B-BB581EC842F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9AA8802-EBFE-42EF-8162-CF59FBBB4741}"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5.8859489968113819E-2</c:v>
                </c:pt>
                <c:pt idx="1">
                  <c:v>-6.5721333243306715E-2</c:v>
                </c:pt>
                <c:pt idx="2">
                  <c:v>-3.9933629961529771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0980537895511408</c:v>
                </c:pt>
                <c:pt idx="1">
                  <c:v>0.1119892923907938</c:v>
                </c:pt>
                <c:pt idx="2">
                  <c:v>0.16521973003537355</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O'12</c:v>
                  </c:pt>
                  <c:pt idx="1">
                    <c:v>O'17</c:v>
                  </c:pt>
                  <c:pt idx="2">
                    <c:v>O'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129A67CB-9C20-4A16-A33E-132E4977C0BE}"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A6A81C1C-5FE4-4432-AB2B-615BBA163BDE}"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79E84331-F60A-4D1E-AFDC-1BACD058D95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5EC8518E-2628-4D5B-B395-B21E7FB786D8}"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B4A2FD6F-703A-4A36-93F2-88560F757710}"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25770934392935985</c:v>
                </c:pt>
                <c:pt idx="1">
                  <c:v>0.10202163403006108</c:v>
                </c:pt>
                <c:pt idx="2">
                  <c:v>-3.9933629961529771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0.1460381961000736</c:v>
                </c:pt>
                <c:pt idx="1">
                  <c:v>-5.0143132808830426E-2</c:v>
                </c:pt>
                <c:pt idx="2">
                  <c:v>0.16521973003537355</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O'12</c:v>
                  </c:pt>
                  <c:pt idx="1">
                    <c:v>O'17</c:v>
                  </c:pt>
                  <c:pt idx="2">
                    <c:v>O'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5479519254353692</c:v>
                </c:pt>
                <c:pt idx="1">
                  <c:v>0.12227127790041697</c:v>
                </c:pt>
                <c:pt idx="2">
                  <c:v>6.5244051999018893E-2</c:v>
                </c:pt>
                <c:pt idx="3">
                  <c:v>6.6470443953887667E-2</c:v>
                </c:pt>
                <c:pt idx="4">
                  <c:v>5.0895266127054209E-2</c:v>
                </c:pt>
                <c:pt idx="5">
                  <c:v>0.22528820210939415</c:v>
                </c:pt>
                <c:pt idx="6">
                  <c:v>2.6735344616139318E-2</c:v>
                </c:pt>
                <c:pt idx="7">
                  <c:v>0</c:v>
                </c:pt>
                <c:pt idx="8">
                  <c:v>2.5263674270296788E-2</c:v>
                </c:pt>
                <c:pt idx="9">
                  <c:v>1.2141280353200883E-2</c:v>
                </c:pt>
                <c:pt idx="10">
                  <c:v>0</c:v>
                </c:pt>
                <c:pt idx="11">
                  <c:v>0</c:v>
                </c:pt>
                <c:pt idx="12">
                  <c:v>1.0424331616384596E-2</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7066697980272431</c:v>
                </c:pt>
                <c:pt idx="1">
                  <c:v>0.16803663691874118</c:v>
                </c:pt>
                <c:pt idx="2">
                  <c:v>8.5955847815875994E-2</c:v>
                </c:pt>
                <c:pt idx="3">
                  <c:v>9.781587599812118E-2</c:v>
                </c:pt>
                <c:pt idx="4">
                  <c:v>4.7792390793799905E-2</c:v>
                </c:pt>
                <c:pt idx="5">
                  <c:v>7.8792860497886336E-2</c:v>
                </c:pt>
                <c:pt idx="6">
                  <c:v>0.10310004697040864</c:v>
                </c:pt>
                <c:pt idx="7">
                  <c:v>1.8201033348990137E-2</c:v>
                </c:pt>
                <c:pt idx="8">
                  <c:v>3.839830906528887E-2</c:v>
                </c:pt>
                <c:pt idx="9">
                  <c:v>1.8318459370596524E-2</c:v>
                </c:pt>
                <c:pt idx="10">
                  <c:v>0</c:v>
                </c:pt>
                <c:pt idx="11">
                  <c:v>0</c:v>
                </c:pt>
                <c:pt idx="12">
                  <c:v>9.9812118365429775E-3</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3512106811495814</c:v>
                </c:pt>
                <c:pt idx="1">
                  <c:v>0.21452817379497624</c:v>
                </c:pt>
                <c:pt idx="2">
                  <c:v>6.8680696990269297E-2</c:v>
                </c:pt>
                <c:pt idx="3">
                  <c:v>7.7619370898393297E-2</c:v>
                </c:pt>
                <c:pt idx="4">
                  <c:v>4.039375424304141E-2</c:v>
                </c:pt>
                <c:pt idx="5">
                  <c:v>6.4833672776646298E-2</c:v>
                </c:pt>
                <c:pt idx="6">
                  <c:v>6.5625707173568679E-2</c:v>
                </c:pt>
                <c:pt idx="7">
                  <c:v>2.9305272686128082E-2</c:v>
                </c:pt>
                <c:pt idx="8">
                  <c:v>4.6956324960398282E-2</c:v>
                </c:pt>
                <c:pt idx="9">
                  <c:v>1.776420004525911E-2</c:v>
                </c:pt>
                <c:pt idx="10">
                  <c:v>3.8696537678207736E-2</c:v>
                </c:pt>
                <c:pt idx="11">
                  <c:v>2.8060647205250058E-2</c:v>
                </c:pt>
                <c:pt idx="12">
                  <c:v>7.0151618013125144E-3</c:v>
                </c:pt>
                <c:pt idx="13">
                  <c:v>8.2597872821905411E-3</c:v>
                </c:pt>
                <c:pt idx="14">
                  <c:v>1.2106811495813533E-2</c:v>
                </c:pt>
                <c:pt idx="15">
                  <c:v>5.9968318624123102E-3</c:v>
                </c:pt>
                <c:pt idx="16">
                  <c:v>1.8782529984159312E-2</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3</c:v>
                </c:pt>
                <c:pt idx="1">
                  <c:v>0</c:v>
                </c:pt>
                <c:pt idx="2">
                  <c:v>3</c:v>
                </c:pt>
                <c:pt idx="3">
                  <c:v>3</c:v>
                </c:pt>
                <c:pt idx="4">
                  <c:v>2</c:v>
                </c:pt>
                <c:pt idx="5">
                  <c:v>0</c:v>
                </c:pt>
                <c:pt idx="6">
                  <c:v>2</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3</c:v>
                </c:pt>
                <c:pt idx="1">
                  <c:v>0</c:v>
                </c:pt>
                <c:pt idx="2">
                  <c:v>3</c:v>
                </c:pt>
                <c:pt idx="3">
                  <c:v>3</c:v>
                </c:pt>
                <c:pt idx="4">
                  <c:v>2</c:v>
                </c:pt>
                <c:pt idx="5">
                  <c:v>0</c:v>
                </c:pt>
                <c:pt idx="6">
                  <c:v>2</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3</c:v>
                </c:pt>
                <c:pt idx="1">
                  <c:v>0</c:v>
                </c:pt>
                <c:pt idx="2">
                  <c:v>2</c:v>
                </c:pt>
                <c:pt idx="3">
                  <c:v>2</c:v>
                </c:pt>
                <c:pt idx="4">
                  <c:v>2</c:v>
                </c:pt>
                <c:pt idx="5">
                  <c:v>0</c:v>
                </c:pt>
                <c:pt idx="6">
                  <c:v>1</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Ouder-Amstel Anders</c:v>
                </c:pt>
                <c:pt idx="1">
                  <c:v>Natuurlijk Belang</c:v>
                </c:pt>
              </c:strCache>
            </c:strRef>
          </c:cat>
          <c:val>
            <c:numRef>
              <c:f>Sheet1!$B$2:$B$9</c:f>
              <c:numCache>
                <c:formatCode>0</c:formatCode>
                <c:ptCount val="8"/>
                <c:pt idx="0">
                  <c:v>1</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Ouder-Amstel Anders</c:v>
                </c:pt>
                <c:pt idx="1">
                  <c:v>Natuurlijk Belang</c:v>
                </c:pt>
              </c:strCache>
            </c:strRef>
          </c:cat>
          <c:val>
            <c:numRef>
              <c:f>Sheet1!$C$2:$C$9</c:f>
              <c:numCache>
                <c:formatCode>0</c:formatCode>
                <c:ptCount val="8"/>
                <c:pt idx="0">
                  <c:v>2</c:v>
                </c:pt>
                <c:pt idx="1">
                  <c:v>1</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F4BC7CBF-6B92-47FB-BD6F-9BC3AC9E90F9}"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2"/>
                <c:pt idx="0">
                  <c:v>Ouder-Amstel Anders</c:v>
                </c:pt>
                <c:pt idx="1">
                  <c:v>Natuurlijk Belang</c:v>
                </c:pt>
              </c:strCache>
            </c:strRef>
          </c:cat>
          <c:val>
            <c:numRef>
              <c:f>Sheet1!$D$2:$D$9</c:f>
              <c:numCache>
                <c:formatCode>0</c:formatCode>
                <c:ptCount val="8"/>
                <c:pt idx="0">
                  <c:v>3</c:v>
                </c:pt>
                <c:pt idx="1">
                  <c:v>2</c:v>
                </c:pt>
              </c:numCache>
            </c:numRef>
          </c:val>
          <c:extLst>
            <c:ext xmlns:c15="http://schemas.microsoft.com/office/drawing/2012/chart" uri="{02D57815-91ED-43cb-92C2-25804820EDAC}">
              <c15:datalabelsRange>
                <c15:f>Sheet1!$D$2:$D$7</c15:f>
                <c15:dlblRangeCache>
                  <c:ptCount val="6"/>
                  <c:pt idx="0">
                    <c:v>3</c:v>
                  </c:pt>
                  <c:pt idx="1">
                    <c:v>2</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B$2:$B$3</c:f>
              <c:numCache>
                <c:formatCode>0%</c:formatCode>
                <c:ptCount val="2"/>
                <c:pt idx="0">
                  <c:v>0.33834892232614883</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C$2:$C$3</c:f>
              <c:numCache>
                <c:formatCode>0%</c:formatCode>
                <c:ptCount val="2"/>
                <c:pt idx="0">
                  <c:v>0.65880439202928021</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D$2:$D$3</c:f>
              <c:numCache>
                <c:formatCode>0%</c:formatCode>
                <c:ptCount val="2"/>
                <c:pt idx="0">
                  <c:v>0</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r-Amstel</c:v>
                </c:pt>
                <c:pt idx="1">
                  <c:v>Nederland</c:v>
                </c:pt>
              </c:strCache>
            </c:strRef>
          </c:cat>
          <c:val>
            <c:numRef>
              <c:f>Sheet1!$E$2:$E$3</c:f>
              <c:numCache>
                <c:formatCode>0%</c:formatCode>
                <c:ptCount val="2"/>
                <c:pt idx="0">
                  <c:v>2.8466856445709637E-3</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4784263959390865</c:v>
                </c:pt>
                <c:pt idx="1">
                  <c:v>0.37</c:v>
                </c:pt>
                <c:pt idx="2">
                  <c:v>0.4628098948830251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48645174796188884</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Amstelveen</c:v>
                </c:pt>
                <c:pt idx="2">
                  <c:v>De Ronde Venen</c:v>
                </c:pt>
                <c:pt idx="3">
                  <c:v>Diemen</c:v>
                </c:pt>
                <c:pt idx="4">
                  <c:v>Almere</c:v>
                </c:pt>
                <c:pt idx="5">
                  <c:v>Uithoorn</c:v>
                </c:pt>
                <c:pt idx="6">
                  <c:v>Zaanstad</c:v>
                </c:pt>
                <c:pt idx="7">
                  <c:v>Utrecht</c:v>
                </c:pt>
                <c:pt idx="8">
                  <c:v>Haarlemmermeer</c:v>
                </c:pt>
                <c:pt idx="9">
                  <c:v>Haarlem</c:v>
                </c:pt>
              </c:strCache>
            </c:strRef>
          </c:cat>
          <c:val>
            <c:numRef>
              <c:f>Sheet1!$B$2:$B$11</c:f>
              <c:numCache>
                <c:formatCode>General</c:formatCode>
                <c:ptCount val="10"/>
                <c:pt idx="0">
                  <c:v>274</c:v>
                </c:pt>
                <c:pt idx="1">
                  <c:v>63</c:v>
                </c:pt>
                <c:pt idx="2">
                  <c:v>50</c:v>
                </c:pt>
                <c:pt idx="3">
                  <c:v>44</c:v>
                </c:pt>
                <c:pt idx="4">
                  <c:v>31</c:v>
                </c:pt>
                <c:pt idx="5">
                  <c:v>24</c:v>
                </c:pt>
                <c:pt idx="6">
                  <c:v>17</c:v>
                </c:pt>
                <c:pt idx="7">
                  <c:v>14</c:v>
                </c:pt>
                <c:pt idx="8">
                  <c:v>13</c:v>
                </c:pt>
                <c:pt idx="9">
                  <c:v>12</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Amsterdam</c:v>
                </c:pt>
                <c:pt idx="1">
                  <c:v>Amstelveen</c:v>
                </c:pt>
                <c:pt idx="2">
                  <c:v>De Ronde Venen</c:v>
                </c:pt>
                <c:pt idx="3">
                  <c:v>Diemen</c:v>
                </c:pt>
                <c:pt idx="4">
                  <c:v>Almere</c:v>
                </c:pt>
                <c:pt idx="5">
                  <c:v>Uithoorn</c:v>
                </c:pt>
                <c:pt idx="6">
                  <c:v>Zaanstad</c:v>
                </c:pt>
                <c:pt idx="7">
                  <c:v>Utrecht</c:v>
                </c:pt>
                <c:pt idx="8">
                  <c:v>Haarlemmermeer</c:v>
                </c:pt>
                <c:pt idx="9">
                  <c:v>Haarlem</c:v>
                </c:pt>
              </c:strCache>
            </c:strRef>
          </c:cat>
          <c:val>
            <c:numRef>
              <c:f>Sheet1!$C$2:$C$11</c:f>
              <c:numCache>
                <c:formatCode>General</c:formatCode>
                <c:ptCount val="10"/>
                <c:pt idx="0">
                  <c:v>180</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msterdam</c:v>
                </c:pt>
                <c:pt idx="1">
                  <c:v>Amstelveen</c:v>
                </c:pt>
                <c:pt idx="2">
                  <c:v>Diemen</c:v>
                </c:pt>
                <c:pt idx="3">
                  <c:v>Uithoorn</c:v>
                </c:pt>
                <c:pt idx="4">
                  <c:v>s-Gravenhage</c:v>
                </c:pt>
                <c:pt idx="5">
                  <c:v>Haarlemmermeer</c:v>
                </c:pt>
                <c:pt idx="6">
                  <c:v>Almere</c:v>
                </c:pt>
                <c:pt idx="7">
                  <c:v>De Ronde Venen</c:v>
                </c:pt>
                <c:pt idx="8">
                  <c:v>Rotterdam</c:v>
                </c:pt>
                <c:pt idx="9">
                  <c:v>Utrecht</c:v>
                </c:pt>
              </c:strCache>
            </c:strRef>
          </c:cat>
          <c:val>
            <c:numRef>
              <c:f>Sheet1!$B$2:$B$11</c:f>
              <c:numCache>
                <c:formatCode>General</c:formatCode>
                <c:ptCount val="10"/>
                <c:pt idx="0">
                  <c:v>454</c:v>
                </c:pt>
                <c:pt idx="1">
                  <c:v>88</c:v>
                </c:pt>
                <c:pt idx="2">
                  <c:v>28</c:v>
                </c:pt>
                <c:pt idx="3">
                  <c:v>27</c:v>
                </c:pt>
                <c:pt idx="4">
                  <c:v>23</c:v>
                </c:pt>
                <c:pt idx="5">
                  <c:v>14</c:v>
                </c:pt>
                <c:pt idx="6">
                  <c:v>12</c:v>
                </c:pt>
                <c:pt idx="7">
                  <c:v>10</c:v>
                </c:pt>
                <c:pt idx="8">
                  <c:v>9</c:v>
                </c:pt>
                <c:pt idx="9">
                  <c:v>7</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Amsterdam</c:v>
                </c:pt>
                <c:pt idx="1">
                  <c:v>Amstelveen</c:v>
                </c:pt>
                <c:pt idx="2">
                  <c:v>Diemen</c:v>
                </c:pt>
                <c:pt idx="3">
                  <c:v>Uithoorn</c:v>
                </c:pt>
                <c:pt idx="4">
                  <c:v>s-Gravenhage</c:v>
                </c:pt>
                <c:pt idx="5">
                  <c:v>Haarlemmermeer</c:v>
                </c:pt>
                <c:pt idx="6">
                  <c:v>Almere</c:v>
                </c:pt>
                <c:pt idx="7">
                  <c:v>De Ronde Venen</c:v>
                </c:pt>
                <c:pt idx="8">
                  <c:v>Rotterdam</c:v>
                </c:pt>
                <c:pt idx="9">
                  <c:v>Utrecht</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125</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375</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125</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375</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316CF08-00E2-42C7-94AC-3A27A980340B}"/>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19521741"/>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1641438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Ouder-Amstel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Ouder-Amstel</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572925028"/>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83431263"/>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Ouder-Amstel vallen 33,0% van de huishoudens in de hoogste inkomensgroep (rijkste 20% van Nederland). Er zijn dus relatief veel rijken in Ouder-Amstel.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Ouder-Amstel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Ouder-Amstel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r-Amstel</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6.296</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60</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762</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33%</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886324828"/>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3826869826"/>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Ouder-Amstel</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465</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33</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0</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6%</a:t>
            </a: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8%</a:t>
            </a: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420928701"/>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9942534"/>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7,9%</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3,1%</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6,4%</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312015300"/>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1660238062"/>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r-Amstel</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r-Amstel</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r-Amstel</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Ouder-Amstel</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Ouder-Amstel</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326</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94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256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51 me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3270730609"/>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340296406"/>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62,9</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Verkeers- misdrijven</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Heling(10), Witwassen(5) en Drugsmisdrijven(5).</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87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33%</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3749098683"/>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415994651"/>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Ouder-Amstel het meest ov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Ouder-Amstel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Ouder-Amstel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Ouder-Amstel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Ouder-Amstel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2155879081"/>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2950095333"/>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Ouder-Amstel</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Ouder-Amstel</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0.412</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5%</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934425160"/>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Ouder-Amstel</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Ouder-Amstel</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10.379</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2,9%</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893371592"/>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3406416793"/>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89</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4,9%</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0,0%</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3217831863"/>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9019469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14.026</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242</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3</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49</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1339787201"/>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10%</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Ouder-Amstel</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6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5%</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9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1,6%</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2</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41</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0</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3579570743"/>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r-Amstel</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1479074243"/>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204930519"/>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r-Amstel</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3794458734"/>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2810834624"/>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3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Ouder-Amstel</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4% van de verhuizers naar Ouder-Amstel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84% van de verhuizers weg uit Ouder-Amstel</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794177050"/>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2313832937"/>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Ouder-Amstel</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Ouder-Amstel</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18.2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7.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2,49</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3824123791"/>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Ouder-Amstel</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Verhuur en overige zakelijke diensten</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7.7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Handel</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1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Informatie en communicatie</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56%</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2288792572"/>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938463146"/>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914780805"/>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Ouder-Amstel</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4.0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4%</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273165048"/>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1028324958"/>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711984285"/>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1730113070"/>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1974550029"/>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7%</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1%</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3%</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Ouder-Amstel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Ouder-Amstel</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20</Words>
  <Application>Microsoft Office PowerPoint</Application>
  <PresentationFormat>Widescreen</PresentationFormat>
  <Paragraphs>427</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Ouder-Amstel</vt:lpstr>
      <vt:lpstr>PowerPoint Presentation</vt:lpstr>
      <vt:lpstr>Historische bevolkingsontwikkeling Ouder-Amstel</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9:51:17Z</dcterms:modified>
</cp:coreProperties>
</file>